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6"/>
  </p:notesMasterIdLst>
  <p:sldIdLst>
    <p:sldId id="307" r:id="rId3"/>
    <p:sldId id="308" r:id="rId4"/>
    <p:sldId id="309" r:id="rId5"/>
    <p:sldId id="258" r:id="rId6"/>
    <p:sldId id="321" r:id="rId7"/>
    <p:sldId id="328" r:id="rId8"/>
    <p:sldId id="301" r:id="rId9"/>
    <p:sldId id="278" r:id="rId10"/>
    <p:sldId id="322" r:id="rId11"/>
    <p:sldId id="323" r:id="rId12"/>
    <p:sldId id="325" r:id="rId13"/>
    <p:sldId id="327" r:id="rId14"/>
    <p:sldId id="318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65B626-8CB4-42D0-921A-87E3E14A8CF6}">
          <p14:sldIdLst>
            <p14:sldId id="307"/>
            <p14:sldId id="308"/>
            <p14:sldId id="309"/>
            <p14:sldId id="258"/>
            <p14:sldId id="321"/>
            <p14:sldId id="328"/>
            <p14:sldId id="301"/>
            <p14:sldId id="278"/>
            <p14:sldId id="322"/>
            <p14:sldId id="323"/>
            <p14:sldId id="325"/>
            <p14:sldId id="327"/>
            <p14:sldId id="31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4368" autoAdjust="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9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wmf"/><Relationship Id="rId5" Type="http://schemas.openxmlformats.org/officeDocument/2006/relationships/package" Target="../embeddings/Microsoft_Excel_Worksheet1.xlsx"/><Relationship Id="rId4" Type="http://schemas.openxmlformats.org/officeDocument/2006/relationships/hyperlink" Target="Test_case%20Group%202.xlsx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9.w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5205294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29418" y="1839913"/>
            <a:ext cx="82851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4400" b="1" dirty="0" smtClean="0">
                <a:solidFill>
                  <a:schemeClr val="bg1"/>
                </a:solidFill>
                <a:latin typeface="Candara" pitchFamily="34" charset="0"/>
              </a:rPr>
              <a:t>Magento Mobile Shop</a:t>
            </a:r>
            <a:endParaRPr lang="en-US" sz="4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case Effectiveness = (No. of defects detected using test cases * 100) / (Total No. of defects detected in testing)</a:t>
            </a:r>
          </a:p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l"/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o. of defects detected using test 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ases = 13</a:t>
            </a:r>
          </a:p>
          <a:p>
            <a:pPr algn="l"/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otal No. of defects detected in 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ing = 20</a:t>
            </a:r>
          </a:p>
          <a:p>
            <a:pPr algn="l"/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l"/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	Test case Effectiveness = </a:t>
            </a:r>
            <a:r>
              <a:rPr lang="en-US" sz="24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5%</a:t>
            </a:r>
            <a:endParaRPr lang="en-US" sz="24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824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acebelity</a:t>
            </a:r>
            <a:r>
              <a:rPr lang="en-US" dirty="0"/>
              <a:t> 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1441669"/>
              </p:ext>
            </p:extLst>
          </p:nvPr>
        </p:nvGraphicFramePr>
        <p:xfrm>
          <a:off x="152400" y="1143000"/>
          <a:ext cx="2362200" cy="472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6419"/>
                <a:gridCol w="1685781"/>
              </a:tblGrid>
              <a:tr h="83952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Business Requirements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I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Business Requirements Descrip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4703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00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The URL should be visible in every page of the Website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703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0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a registered user can access the website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83952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00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e password field should accept one special character ,uppercase and lower case and no blank spaces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83952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0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the registered user has an accessibility to make payments in payment gateways.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3258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0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LogIn button sould be present in every page of the websit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3258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00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Only valid username should be accepted having alphabets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093378"/>
              </p:ext>
            </p:extLst>
          </p:nvPr>
        </p:nvGraphicFramePr>
        <p:xfrm>
          <a:off x="5638800" y="1143000"/>
          <a:ext cx="3428999" cy="48767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0475"/>
                <a:gridCol w="459754"/>
                <a:gridCol w="459754"/>
                <a:gridCol w="459754"/>
                <a:gridCol w="459754"/>
                <a:gridCol w="459754"/>
                <a:gridCol w="459754"/>
              </a:tblGrid>
              <a:tr h="40640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Requirement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0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0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B00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B004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B0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270934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estCaseId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270934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UC_0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40640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UC_0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406401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UC_0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270934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UC_0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270934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UC_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UC_0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ST_0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  <a:tr h="13546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TC_CE_00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>
                          <a:effectLst/>
                        </a:rPr>
                        <a:t>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Y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286" marR="6286" marT="6286" marB="0" anchor="b"/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237609"/>
              </p:ext>
            </p:extLst>
          </p:nvPr>
        </p:nvGraphicFramePr>
        <p:xfrm>
          <a:off x="2667000" y="1066800"/>
          <a:ext cx="2819397" cy="49550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2771"/>
                <a:gridCol w="402771"/>
                <a:gridCol w="402771"/>
                <a:gridCol w="402771"/>
                <a:gridCol w="402771"/>
                <a:gridCol w="402771"/>
                <a:gridCol w="402771"/>
              </a:tblGrid>
              <a:tr h="30508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Requirement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B00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B00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B00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B00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B00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B00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30508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45763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45763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30508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30508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15254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15254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15254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S_00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27610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IS_00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27610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IS_00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27610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IS_00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27610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IS_00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27610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IS_00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27610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IS_00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  <a:tr h="27610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TC_IS_00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7" marR="7627" marT="7627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590800" y="1828800"/>
            <a:ext cx="39624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b="1" i="1" dirty="0"/>
              <a:t>Any Queries?</a:t>
            </a:r>
          </a:p>
        </p:txBody>
      </p:sp>
      <p:pic>
        <p:nvPicPr>
          <p:cNvPr id="3078" name="Picture 6" descr="Image result for question mark 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419475"/>
            <a:ext cx="2133600" cy="244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745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381000" y="2667000"/>
            <a:ext cx="8229600" cy="2234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 smtClean="0"/>
              <a:t>Alok Nanda</a:t>
            </a:r>
            <a:endParaRPr lang="en-US" sz="2400" i="1" dirty="0"/>
          </a:p>
          <a:p>
            <a:r>
              <a:rPr lang="en-US" sz="2400" i="1" dirty="0" smtClean="0"/>
              <a:t>Anwesha Basu</a:t>
            </a:r>
            <a:endParaRPr lang="en-US" sz="2400" i="1" dirty="0"/>
          </a:p>
          <a:p>
            <a:r>
              <a:rPr lang="en-US" sz="2400" i="1" dirty="0" smtClean="0"/>
              <a:t>Ashish Choudhary</a:t>
            </a:r>
            <a:endParaRPr lang="en-US" sz="2400" i="1" dirty="0"/>
          </a:p>
          <a:p>
            <a:r>
              <a:rPr lang="en-US" sz="2400" i="1" dirty="0" smtClean="0"/>
              <a:t>Ayush Srivastava</a:t>
            </a:r>
            <a:endParaRPr lang="en-US" sz="2400" i="1" dirty="0"/>
          </a:p>
          <a:p>
            <a:r>
              <a:rPr lang="en-US" sz="2400" i="1" dirty="0" smtClean="0"/>
              <a:t>Badal Ahuja</a:t>
            </a:r>
            <a:endParaRPr lang="en-US" sz="2400" i="1" dirty="0"/>
          </a:p>
        </p:txBody>
      </p:sp>
      <p:sp>
        <p:nvSpPr>
          <p:cNvPr id="4" name="Rectangle 3"/>
          <p:cNvSpPr/>
          <p:nvPr/>
        </p:nvSpPr>
        <p:spPr>
          <a:xfrm>
            <a:off x="685800" y="1371600"/>
            <a:ext cx="272978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Group: 2</a:t>
            </a:r>
            <a:endParaRPr lang="en-US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2" name="Rectangle 1"/>
          <p:cNvSpPr/>
          <p:nvPr/>
        </p:nvSpPr>
        <p:spPr>
          <a:xfrm>
            <a:off x="1295399" y="1066800"/>
            <a:ext cx="618553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i="1" dirty="0"/>
              <a:t>https://</a:t>
            </a:r>
            <a:r>
              <a:rPr lang="en-US" sz="2800" b="1" i="1" dirty="0" smtClean="0"/>
              <a:t>www.magentomobileshop.com</a:t>
            </a:r>
            <a:endParaRPr lang="en-US" sz="28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1590020"/>
            <a:ext cx="7696200" cy="469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50000"/>
              </a:lnSpc>
              <a:buAutoNum type="arabicPeriod"/>
            </a:pPr>
            <a:r>
              <a:rPr lang="en-US" sz="2000" b="0" dirty="0">
                <a:solidFill>
                  <a:schemeClr val="tx1"/>
                </a:solidFill>
                <a:latin typeface="+mn-lt"/>
              </a:rPr>
              <a:t>Magento Mobile Shop is an upcoming native app builder brand that aims at revolutionizing the ecommerce businesses around the globe.</a:t>
            </a:r>
          </a:p>
          <a:p>
            <a:pPr>
              <a:buAutoNum type="arabicPeriod"/>
            </a:pPr>
            <a:r>
              <a:rPr lang="en-US" sz="2000" b="0" dirty="0">
                <a:solidFill>
                  <a:schemeClr val="tx1"/>
                </a:solidFill>
                <a:latin typeface="+mn-lt"/>
              </a:rPr>
              <a:t>With its free Magento mobile app extension, anybody can easily create fully native applications with rich functionality</a:t>
            </a:r>
            <a:r>
              <a:rPr lang="en-US" sz="2000" b="0" dirty="0" smtClean="0">
                <a:solidFill>
                  <a:schemeClr val="tx1"/>
                </a:solidFill>
                <a:latin typeface="+mn-lt"/>
              </a:rPr>
              <a:t>.</a:t>
            </a:r>
            <a:r>
              <a:rPr lang="en-US" sz="2000" b="0" dirty="0">
                <a:solidFill>
                  <a:schemeClr val="tx1"/>
                </a:solidFill>
                <a:latin typeface="+mn-lt"/>
              </a:rPr>
              <a:t/>
            </a:r>
            <a:br>
              <a:rPr lang="en-US" sz="2000" b="0" dirty="0">
                <a:solidFill>
                  <a:schemeClr val="tx1"/>
                </a:solidFill>
                <a:latin typeface="+mn-lt"/>
              </a:rPr>
            </a:br>
            <a:endParaRPr lang="en-US" sz="20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dirty="0"/>
              <a:t>Actor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5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19200" y="1447800"/>
            <a:ext cx="3581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3600" dirty="0" smtClean="0"/>
              <a:t>User/Customer</a:t>
            </a:r>
          </a:p>
          <a:p>
            <a:pPr marL="342900" indent="-342900">
              <a:buAutoNum type="arabicPeriod"/>
            </a:pPr>
            <a:r>
              <a:rPr lang="en-US" sz="3600" dirty="0" smtClean="0"/>
              <a:t>Admin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914400"/>
            <a:ext cx="8305800" cy="5057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304800" y="122238"/>
            <a:ext cx="8229600" cy="7921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Use Case Diagram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509951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17150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latin typeface="Baskerville Old Face" pitchFamily="18" charset="0"/>
              </a:rPr>
              <a:t>TEST CASES</a:t>
            </a:r>
          </a:p>
        </p:txBody>
      </p:sp>
      <p:graphicFrame>
        <p:nvGraphicFramePr>
          <p:cNvPr id="9" name="Object 8">
            <a:hlinkClick r:id="rId4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784565"/>
              </p:ext>
            </p:extLst>
          </p:nvPr>
        </p:nvGraphicFramePr>
        <p:xfrm>
          <a:off x="4114800" y="30432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114800" y="30432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8</a:t>
            </a:fld>
            <a:endParaRPr lang="en-US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224871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4800" y="17150"/>
            <a:ext cx="838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latin typeface="Baskerville Old Face" pitchFamily="18" charset="0"/>
              </a:rPr>
              <a:t>DEFECT REPORT</a:t>
            </a:r>
            <a:endParaRPr lang="en-US" sz="4000" dirty="0">
              <a:latin typeface="Baskerville Old Face" pitchFamily="18" charset="0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51367466"/>
              </p:ext>
            </p:extLst>
          </p:nvPr>
        </p:nvGraphicFramePr>
        <p:xfrm>
          <a:off x="4114800" y="304323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114800" y="304323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8589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Case Adequacy = No. Of actual test cases * 100 / No. of 				test cases estimated.</a:t>
            </a:r>
          </a:p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 our case: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o. of actual test cases       = 39</a:t>
            </a:r>
          </a:p>
          <a:p>
            <a:pPr marL="0" indent="0">
              <a:buNone/>
            </a:pPr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o. of test cases estimated = 45</a:t>
            </a:r>
          </a:p>
          <a:p>
            <a:pPr marL="0" indent="0">
              <a:buNone/>
            </a:pPr>
            <a:endParaRPr lang="en-US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st Case Adequacy = </a:t>
            </a:r>
            <a:r>
              <a:rPr lang="en-US" sz="24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6.66%</a:t>
            </a:r>
            <a:endParaRPr lang="en-US" sz="24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2</TotalTime>
  <Words>527</Words>
  <Application>Microsoft Office PowerPoint</Application>
  <PresentationFormat>On-screen Show (4:3)</PresentationFormat>
  <Paragraphs>362</Paragraphs>
  <Slides>1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Executive</vt:lpstr>
      <vt:lpstr>Office Theme</vt:lpstr>
      <vt:lpstr>Worksheet</vt:lpstr>
      <vt:lpstr>PowerPoint Presentation</vt:lpstr>
      <vt:lpstr>TEAM MEMBERS</vt:lpstr>
      <vt:lpstr>PowerPoint Presentation</vt:lpstr>
      <vt:lpstr>OVERVIEW OF THE PROJECT</vt:lpstr>
      <vt:lpstr>Actors</vt:lpstr>
      <vt:lpstr>PowerPoint Presentation</vt:lpstr>
      <vt:lpstr>PowerPoint Presentation</vt:lpstr>
      <vt:lpstr>PowerPoint Presentation</vt:lpstr>
      <vt:lpstr>Test Case Adequacy :</vt:lpstr>
      <vt:lpstr>Test Case Effectiveness:</vt:lpstr>
      <vt:lpstr>Tracebelity Matrix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IG, hwdlab1B</cp:lastModifiedBy>
  <cp:revision>131</cp:revision>
  <dcterms:created xsi:type="dcterms:W3CDTF">2015-08-27T08:52:20Z</dcterms:created>
  <dcterms:modified xsi:type="dcterms:W3CDTF">2018-11-29T13:14:50Z</dcterms:modified>
</cp:coreProperties>
</file>